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6"/>
    <p:sldMasterId id="2147483674" r:id="rId7"/>
  </p:sldMasterIdLst>
  <p:notesMasterIdLst>
    <p:notesMasterId r:id="rId10"/>
  </p:notesMasterIdLst>
  <p:handoutMasterIdLst>
    <p:handoutMasterId r:id="rId11"/>
  </p:handoutMasterIdLst>
  <p:sldIdLst>
    <p:sldId id="282" r:id="rId8"/>
    <p:sldId id="898" r:id="rId9"/>
  </p:sldIdLst>
  <p:sldSz cx="9944100" cy="7099300"/>
  <p:notesSz cx="6797675" cy="9926638"/>
  <p:defaultTextStyle>
    <a:defPPr>
      <a:defRPr lang="en-US"/>
    </a:defPPr>
    <a:lvl1pPr marL="0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6832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3662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0494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47325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4157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0988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07819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94651" algn="l" defTabSz="4868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81">
          <p15:clr>
            <a:srgbClr val="A4A3A4"/>
          </p15:clr>
        </p15:guide>
        <p15:guide id="2" pos="34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z Thompson (AT)" initials="LT(" lastIdx="25" clrIdx="0">
    <p:extLst>
      <p:ext uri="{19B8F6BF-5375-455C-9EA6-DF929625EA0E}">
        <p15:presenceInfo xmlns:p15="http://schemas.microsoft.com/office/powerpoint/2012/main" userId="S::Liz.Thompson@at.govt.nz::96aba6bb-493a-4495-a06d-08b3954ad4e7" providerId="AD"/>
      </p:ext>
    </p:extLst>
  </p:cmAuthor>
  <p:cmAuthor id="2" name="Nicole Edridge (AT)" initials="NE(" lastIdx="1" clrIdx="1">
    <p:extLst>
      <p:ext uri="{19B8F6BF-5375-455C-9EA6-DF929625EA0E}">
        <p15:presenceInfo xmlns:p15="http://schemas.microsoft.com/office/powerpoint/2012/main" userId="S::Nicole.Edridge@at.govt.nz::6fe6f404-8a0c-4ad0-b1e7-7a9c53a81db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napToObjects="1">
      <p:cViewPr varScale="1">
        <p:scale>
          <a:sx n="105" d="100"/>
          <a:sy n="105" d="100"/>
        </p:scale>
        <p:origin x="1566" y="120"/>
      </p:cViewPr>
      <p:guideLst>
        <p:guide orient="horz" pos="4281"/>
        <p:guide pos="344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-3156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7F4744-D2A5-4CB5-86BF-BD9670C1AF7B}" type="datetimeFigureOut">
              <a:rPr lang="en-NZ" smtClean="0"/>
              <a:t>6/12/2019</a:t>
            </a:fld>
            <a:endParaRPr lang="en-N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A3BFD-456E-4831-8F0F-C1829135A29E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664056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A09EB0-AFCE-4B69-B683-F34D03DDB9E0}" type="datetimeFigureOut">
              <a:rPr lang="en-NZ" smtClean="0"/>
              <a:t>6/12/2019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2163" y="744538"/>
            <a:ext cx="5213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C727B2-05EE-4DB2-BF44-3E65EBCAD733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56109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8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38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56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74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93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12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31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49" algn="l" defTabSz="9142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1 -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" y="0"/>
            <a:ext cx="9954000" cy="7106948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94543" y="2364419"/>
            <a:ext cx="6844944" cy="929198"/>
          </a:xfrm>
          <a:prstGeom prst="rect">
            <a:avLst/>
          </a:prstGeom>
        </p:spPr>
        <p:txBody>
          <a:bodyPr lIns="91424" tIns="45712" rIns="91424" bIns="45712"/>
          <a:lstStyle>
            <a:lvl1pPr algn="l"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NZ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7849" y="3426767"/>
            <a:ext cx="6861638" cy="661987"/>
          </a:xfrm>
          <a:prstGeom prst="rect">
            <a:avLst/>
          </a:prstGeom>
        </p:spPr>
        <p:txBody>
          <a:bodyPr lIns="91424" tIns="45712" rIns="91424" bIns="45712" anchor="b"/>
          <a:lstStyle>
            <a:lvl1pPr marL="0" indent="0">
              <a:buNone/>
              <a:defRPr sz="3300" b="1">
                <a:solidFill>
                  <a:schemeClr val="accent3"/>
                </a:solidFill>
                <a:latin typeface="+mj-lt"/>
              </a:defRPr>
            </a:lvl1pPr>
            <a:lvl2pPr marL="457118" indent="0">
              <a:buNone/>
              <a:defRPr sz="2000" b="1"/>
            </a:lvl2pPr>
            <a:lvl3pPr marL="914238" indent="0">
              <a:buNone/>
              <a:defRPr sz="1800" b="1"/>
            </a:lvl3pPr>
            <a:lvl4pPr marL="1371356" indent="0">
              <a:buNone/>
              <a:defRPr sz="1600" b="1"/>
            </a:lvl4pPr>
            <a:lvl5pPr marL="1828474" indent="0">
              <a:buNone/>
              <a:defRPr sz="1600" b="1"/>
            </a:lvl5pPr>
            <a:lvl6pPr marL="2285593" indent="0">
              <a:buNone/>
              <a:defRPr sz="1600" b="1"/>
            </a:lvl6pPr>
            <a:lvl7pPr marL="2742712" indent="0">
              <a:buNone/>
              <a:defRPr sz="1600" b="1"/>
            </a:lvl7pPr>
            <a:lvl8pPr marL="3199831" indent="0">
              <a:buNone/>
              <a:defRPr sz="1600" b="1"/>
            </a:lvl8pPr>
            <a:lvl9pPr marL="3656949" indent="0">
              <a:buNone/>
              <a:defRPr sz="1600" b="1"/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163845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599" y="4983116"/>
            <a:ext cx="8661600" cy="416079"/>
          </a:xfrm>
          <a:prstGeom prst="rect">
            <a:avLst/>
          </a:prstGeom>
        </p:spPr>
        <p:txBody>
          <a:bodyPr lIns="91424" tIns="45712" rIns="91424" bIns="45712"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  <a:endParaRPr lang="en-NZ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33599" y="907199"/>
            <a:ext cx="8661600" cy="4075915"/>
          </a:xfrm>
          <a:prstGeom prst="rect">
            <a:avLst/>
          </a:prstGeom>
        </p:spPr>
        <p:txBody>
          <a:bodyPr lIns="91424" tIns="45712" rIns="91424" bIns="45712"/>
          <a:lstStyle>
            <a:lvl1pPr marL="0" indent="0">
              <a:buNone/>
              <a:defRPr sz="3200"/>
            </a:lvl1pPr>
            <a:lvl2pPr marL="457118" indent="0">
              <a:buNone/>
              <a:defRPr sz="2800"/>
            </a:lvl2pPr>
            <a:lvl3pPr marL="914238" indent="0">
              <a:buNone/>
              <a:defRPr sz="2400"/>
            </a:lvl3pPr>
            <a:lvl4pPr marL="1371356" indent="0">
              <a:buNone/>
              <a:defRPr sz="2000"/>
            </a:lvl4pPr>
            <a:lvl5pPr marL="1828474" indent="0">
              <a:buNone/>
              <a:defRPr sz="2000"/>
            </a:lvl5pPr>
            <a:lvl6pPr marL="2285593" indent="0">
              <a:buNone/>
              <a:defRPr sz="2000"/>
            </a:lvl6pPr>
            <a:lvl7pPr marL="2742712" indent="0">
              <a:buNone/>
              <a:defRPr sz="2000"/>
            </a:lvl7pPr>
            <a:lvl8pPr marL="3199831" indent="0">
              <a:buNone/>
              <a:defRPr sz="2000"/>
            </a:lvl8pPr>
            <a:lvl9pPr marL="3656949" indent="0">
              <a:buNone/>
              <a:defRPr sz="2000"/>
            </a:lvl9pPr>
          </a:lstStyle>
          <a:p>
            <a:endParaRPr lang="en-N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3599" y="5399195"/>
            <a:ext cx="8661600" cy="305725"/>
          </a:xfrm>
          <a:prstGeom prst="rect">
            <a:avLst/>
          </a:prstGeom>
        </p:spPr>
        <p:txBody>
          <a:bodyPr lIns="91424" tIns="45712" rIns="91424" bIns="45712"/>
          <a:lstStyle>
            <a:lvl1pPr marL="0" indent="0">
              <a:buNone/>
              <a:defRPr sz="1400"/>
            </a:lvl1pPr>
            <a:lvl2pPr marL="457118" indent="0">
              <a:buNone/>
              <a:defRPr sz="1200"/>
            </a:lvl2pPr>
            <a:lvl3pPr marL="914238" indent="0">
              <a:buNone/>
              <a:defRPr sz="1000"/>
            </a:lvl3pPr>
            <a:lvl4pPr marL="1371356" indent="0">
              <a:buNone/>
              <a:defRPr sz="900"/>
            </a:lvl4pPr>
            <a:lvl5pPr marL="1828474" indent="0">
              <a:buNone/>
              <a:defRPr sz="900"/>
            </a:lvl5pPr>
            <a:lvl6pPr marL="2285593" indent="0">
              <a:buNone/>
              <a:defRPr sz="900"/>
            </a:lvl6pPr>
            <a:lvl7pPr marL="2742712" indent="0">
              <a:buNone/>
              <a:defRPr sz="900"/>
            </a:lvl7pPr>
            <a:lvl8pPr marL="3199831" indent="0">
              <a:buNone/>
              <a:defRPr sz="900"/>
            </a:lvl8pPr>
            <a:lvl9pPr marL="3656949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4261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A2CF020-015B-7241-9078-D5DA736F2CC6}"/>
              </a:ext>
            </a:extLst>
          </p:cNvPr>
          <p:cNvSpPr/>
          <p:nvPr userDrawn="1"/>
        </p:nvSpPr>
        <p:spPr>
          <a:xfrm>
            <a:off x="3176" y="0"/>
            <a:ext cx="9940924" cy="1423686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4868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150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             </a:t>
            </a:r>
            <a:br>
              <a:rPr kumimoji="0" lang="en-NZ" sz="150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NZ" sz="150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            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94078" y="1808510"/>
            <a:ext cx="8912794" cy="4166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1450" indent="-171450">
              <a:defRPr lang="en-US" sz="1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791101" indent="-304269">
              <a:defRPr lang="en-NZ" sz="12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17079" indent="-243415">
              <a:defRPr sz="1200">
                <a:solidFill>
                  <a:schemeClr val="tx1"/>
                </a:solidFill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NZ"/>
              <a:t>Edit Master text styles</a:t>
            </a:r>
          </a:p>
          <a:p>
            <a:pPr lvl="0"/>
            <a:r>
              <a:rPr lang="en-NZ"/>
              <a:t>Second level</a:t>
            </a:r>
          </a:p>
          <a:p>
            <a:pPr marL="171450" lvl="0" indent="-171450" algn="l" defTabSz="4868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NZ"/>
              <a:t>Third level</a:t>
            </a:r>
          </a:p>
          <a:p>
            <a:pPr marL="791101" lvl="1" indent="-304269" algn="l" defTabSz="486832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NZ"/>
              <a:t>Fourth level</a:t>
            </a:r>
          </a:p>
          <a:p>
            <a:pPr marL="1217079" lvl="2" indent="-243415" algn="l" defTabSz="486832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NZ"/>
              <a:t>Fifth level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4078" y="238857"/>
            <a:ext cx="891279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kumimoji="0" lang="en-US" sz="2000" b="1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>
              <a:defRPr lang="en-US" sz="19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90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en-NZ" sz="1900" dirty="0">
                <a:solidFill>
                  <a:schemeClr val="tx1"/>
                </a:solidFill>
                <a:latin typeface="+mn-lt"/>
              </a:defRPr>
            </a:lvl4pPr>
          </a:lstStyle>
          <a:p>
            <a:pPr marL="365124" marR="0" lvl="0" indent="-365124"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NZ"/>
              <a:t>Edit Master text styles</a:t>
            </a: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94078" y="572958"/>
            <a:ext cx="891279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kumimoji="0" lang="en-US" sz="2000" b="0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>
              <a:defRPr lang="en-US" sz="19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90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en-NZ" sz="1900" dirty="0">
                <a:solidFill>
                  <a:schemeClr val="tx1"/>
                </a:solidFill>
                <a:latin typeface="+mn-lt"/>
              </a:defRPr>
            </a:lvl4pPr>
          </a:lstStyle>
          <a:p>
            <a:pPr marL="365124" marR="0" lvl="0" indent="-365124"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NZ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514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6">
          <p15:clr>
            <a:srgbClr val="FBAE40"/>
          </p15:clr>
        </p15:guide>
        <p15:guide id="2" pos="3132">
          <p15:clr>
            <a:srgbClr val="FBAE40"/>
          </p15:clr>
        </p15:guide>
        <p15:guide id="3" pos="5929">
          <p15:clr>
            <a:srgbClr val="FBAE40"/>
          </p15:clr>
        </p15:guide>
        <p15:guide id="4" pos="302">
          <p15:clr>
            <a:srgbClr val="FBAE40"/>
          </p15:clr>
        </p15:guide>
        <p15:guide id="5" pos="2168">
          <p15:clr>
            <a:srgbClr val="FBAE40"/>
          </p15:clr>
        </p15:guide>
        <p15:guide id="6" pos="3177">
          <p15:clr>
            <a:srgbClr val="FBAE40"/>
          </p15:clr>
        </p15:guide>
        <p15:guide id="7" pos="2080">
          <p15:clr>
            <a:srgbClr val="FBAE40"/>
          </p15:clr>
        </p15:guide>
        <p15:guide id="8" pos="1159">
          <p15:clr>
            <a:srgbClr val="FBAE40"/>
          </p15:clr>
        </p15:guide>
        <p15:guide id="9" pos="1068">
          <p15:clr>
            <a:srgbClr val="FBAE40"/>
          </p15:clr>
        </p15:guide>
        <p15:guide id="10" pos="3087">
          <p15:clr>
            <a:srgbClr val="FBAE40"/>
          </p15:clr>
        </p15:guide>
        <p15:guide id="11" pos="4083">
          <p15:clr>
            <a:srgbClr val="FBAE40"/>
          </p15:clr>
        </p15:guide>
        <p15:guide id="12" pos="4176">
          <p15:clr>
            <a:srgbClr val="FBAE40"/>
          </p15:clr>
        </p15:guide>
        <p15:guide id="13" pos="5085">
          <p15:clr>
            <a:srgbClr val="FBAE40"/>
          </p15:clr>
        </p15:guide>
        <p15:guide id="14" pos="5174">
          <p15:clr>
            <a:srgbClr val="FBAE40"/>
          </p15:clr>
        </p15:guide>
        <p15:guide id="15" orient="horz" pos="853">
          <p15:clr>
            <a:srgbClr val="FBAE40"/>
          </p15:clr>
        </p15:guide>
        <p15:guide id="16" orient="horz" pos="376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2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" y="0"/>
            <a:ext cx="9954000" cy="7106948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94543" y="2364419"/>
            <a:ext cx="6844944" cy="929198"/>
          </a:xfrm>
          <a:prstGeom prst="rect">
            <a:avLst/>
          </a:prstGeom>
        </p:spPr>
        <p:txBody>
          <a:bodyPr lIns="91424" tIns="45712" rIns="91424" bIns="45712"/>
          <a:lstStyle>
            <a:lvl1pPr algn="l">
              <a:defRPr sz="66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NZ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7849" y="3426767"/>
            <a:ext cx="6861638" cy="661987"/>
          </a:xfrm>
          <a:prstGeom prst="rect">
            <a:avLst/>
          </a:prstGeom>
        </p:spPr>
        <p:txBody>
          <a:bodyPr lIns="91424" tIns="45712" rIns="91424" bIns="45712" anchor="b"/>
          <a:lstStyle>
            <a:lvl1pPr marL="0" indent="0">
              <a:buNone/>
              <a:defRPr sz="3300" b="1">
                <a:solidFill>
                  <a:schemeClr val="accent3"/>
                </a:solidFill>
                <a:latin typeface="+mj-lt"/>
              </a:defRPr>
            </a:lvl1pPr>
            <a:lvl2pPr marL="457118" indent="0">
              <a:buNone/>
              <a:defRPr sz="2000" b="1"/>
            </a:lvl2pPr>
            <a:lvl3pPr marL="914238" indent="0">
              <a:buNone/>
              <a:defRPr sz="1800" b="1"/>
            </a:lvl3pPr>
            <a:lvl4pPr marL="1371356" indent="0">
              <a:buNone/>
              <a:defRPr sz="1600" b="1"/>
            </a:lvl4pPr>
            <a:lvl5pPr marL="1828474" indent="0">
              <a:buNone/>
              <a:defRPr sz="1600" b="1"/>
            </a:lvl5pPr>
            <a:lvl6pPr marL="2285593" indent="0">
              <a:buNone/>
              <a:defRPr sz="1600" b="1"/>
            </a:lvl6pPr>
            <a:lvl7pPr marL="2742712" indent="0">
              <a:buNone/>
              <a:defRPr sz="1600" b="1"/>
            </a:lvl7pPr>
            <a:lvl8pPr marL="3199831" indent="0">
              <a:buNone/>
              <a:defRPr sz="1600" b="1"/>
            </a:lvl8pPr>
            <a:lvl9pPr marL="3656949" indent="0">
              <a:buNone/>
              <a:defRPr sz="1600" b="1"/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1357387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573049" y="2183804"/>
            <a:ext cx="1461940" cy="523220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+mn-lt"/>
                <a:cs typeface="Arial"/>
              </a:rPr>
              <a:t>Section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94400" y="367200"/>
            <a:ext cx="2257200" cy="208800"/>
          </a:xfrm>
          <a:prstGeom prst="rect">
            <a:avLst/>
          </a:prstGeom>
        </p:spPr>
        <p:txBody>
          <a:bodyPr lIns="91424" tIns="45712" rIns="91424" bIns="45712"/>
          <a:lstStyle>
            <a:lvl1pPr algn="r">
              <a:defRPr sz="900" b="1">
                <a:solidFill>
                  <a:schemeClr val="bg1"/>
                </a:solidFill>
              </a:defRPr>
            </a:lvl1pPr>
          </a:lstStyle>
          <a:p>
            <a:fld id="{EDFABA8B-65DD-D645-81C8-3284C86059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825454" y="2183804"/>
            <a:ext cx="7828309" cy="522000"/>
          </a:xfrm>
          <a:prstGeom prst="rect">
            <a:avLst/>
          </a:prstGeom>
        </p:spPr>
        <p:txBody>
          <a:bodyPr lIns="91424" tIns="45712" rIns="91424" bIns="46792" anchor="t" anchorCtr="0"/>
          <a:lstStyle>
            <a:lvl1pPr marL="0" indent="0">
              <a:buNone/>
              <a:defRPr sz="2800" b="0" baseline="0">
                <a:solidFill>
                  <a:schemeClr val="bg1"/>
                </a:solidFill>
              </a:defRPr>
            </a:lvl1pPr>
            <a:lvl2pPr marL="457118" indent="0">
              <a:buNone/>
              <a:defRPr sz="2000" b="1"/>
            </a:lvl2pPr>
            <a:lvl3pPr marL="914238" indent="0">
              <a:buNone/>
              <a:defRPr sz="1800" b="1"/>
            </a:lvl3pPr>
            <a:lvl4pPr marL="1371356" indent="0">
              <a:buNone/>
              <a:defRPr sz="1600" b="1"/>
            </a:lvl4pPr>
            <a:lvl5pPr marL="1828474" indent="0">
              <a:buNone/>
              <a:defRPr sz="1600" b="1"/>
            </a:lvl5pPr>
            <a:lvl6pPr marL="2285593" indent="0">
              <a:buNone/>
              <a:defRPr sz="1600" b="1"/>
            </a:lvl6pPr>
            <a:lvl7pPr marL="2742712" indent="0">
              <a:buNone/>
              <a:defRPr sz="1600" b="1"/>
            </a:lvl7pPr>
            <a:lvl8pPr marL="3199831" indent="0">
              <a:buNone/>
              <a:defRPr sz="1600" b="1"/>
            </a:lvl8pPr>
            <a:lvl9pPr marL="3656949" indent="0">
              <a:buNone/>
              <a:defRPr sz="1600" b="1"/>
            </a:lvl9pPr>
          </a:lstStyle>
          <a:p>
            <a:pPr lvl="0"/>
            <a:r>
              <a:rPr lang="en-US" dirty="0"/>
              <a:t>Click to add section number followed by a colon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73049" y="2656204"/>
            <a:ext cx="7875804" cy="485057"/>
          </a:xfrm>
          <a:prstGeom prst="rect">
            <a:avLst/>
          </a:prstGeom>
        </p:spPr>
        <p:txBody>
          <a:bodyPr lIns="91424" tIns="45712" rIns="91424" bIns="45712" anchor="b"/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118" indent="0">
              <a:buNone/>
              <a:defRPr sz="2000" b="1"/>
            </a:lvl2pPr>
            <a:lvl3pPr marL="914238" indent="0">
              <a:buNone/>
              <a:defRPr sz="1800" b="1"/>
            </a:lvl3pPr>
            <a:lvl4pPr marL="1371356" indent="0">
              <a:buNone/>
              <a:defRPr sz="1600" b="1"/>
            </a:lvl4pPr>
            <a:lvl5pPr marL="1828474" indent="0">
              <a:buNone/>
              <a:defRPr sz="1600" b="1"/>
            </a:lvl5pPr>
            <a:lvl6pPr marL="2285593" indent="0">
              <a:buNone/>
              <a:defRPr sz="1600" b="1"/>
            </a:lvl6pPr>
            <a:lvl7pPr marL="2742712" indent="0">
              <a:buNone/>
              <a:defRPr sz="1600" b="1"/>
            </a:lvl7pPr>
            <a:lvl8pPr marL="3199831" indent="0">
              <a:buNone/>
              <a:defRPr sz="1600" b="1"/>
            </a:lvl8pPr>
            <a:lvl9pPr marL="3656949" indent="0">
              <a:buNone/>
              <a:defRPr sz="1600" b="1"/>
            </a:lvl9pPr>
          </a:lstStyle>
          <a:p>
            <a:pPr lvl="0"/>
            <a:r>
              <a:rPr lang="en-US" dirty="0"/>
              <a:t>Click to add Section Titl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236862" y="300101"/>
            <a:ext cx="9416901" cy="0"/>
          </a:xfrm>
          <a:prstGeom prst="line">
            <a:avLst/>
          </a:prstGeom>
          <a:blipFill dpi="0" rotWithShape="0">
            <a:blip r:embed="rId2"/>
            <a:srcRect/>
            <a:tile tx="0" ty="0" sx="100000" sy="100000" flip="none" algn="tl"/>
          </a:blip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/>
          <p:cNvCxnSpPr/>
          <p:nvPr userDrawn="1"/>
        </p:nvCxnSpPr>
        <p:spPr bwMode="auto">
          <a:xfrm>
            <a:off x="236859" y="6788290"/>
            <a:ext cx="9417600" cy="0"/>
          </a:xfrm>
          <a:prstGeom prst="line">
            <a:avLst/>
          </a:prstGeom>
          <a:blipFill dpi="0" rotWithShape="0">
            <a:blip r:embed="rId2"/>
            <a:srcRect/>
            <a:tile tx="0" ty="0" sx="100000" sy="100000" flip="none" algn="tl"/>
          </a:blipFill>
          <a:ln w="12700" cap="flat" cmpd="sng" algn="ctr">
            <a:solidFill>
              <a:srgbClr val="1C3C5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867412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70801" y="1998000"/>
            <a:ext cx="7210425" cy="2448272"/>
          </a:xfrm>
          <a:prstGeom prst="rect">
            <a:avLst/>
          </a:prstGeom>
        </p:spPr>
        <p:txBody>
          <a:bodyPr lIns="91424" tIns="45712" rIns="91424" bIns="45712" anchor="ctr" anchorCtr="0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8800" b="1" dirty="0">
                <a:solidFill>
                  <a:schemeClr val="bg1"/>
                </a:solidFill>
              </a:rPr>
              <a:t>Thank you.</a:t>
            </a:r>
          </a:p>
        </p:txBody>
      </p:sp>
      <p:pic>
        <p:nvPicPr>
          <p:cNvPr id="9" name="Picture 8" descr="AT_CORPORATE_LOGO-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01" y="6181200"/>
            <a:ext cx="1997075" cy="640366"/>
          </a:xfrm>
          <a:prstGeom prst="rect">
            <a:avLst/>
          </a:prstGeom>
        </p:spPr>
      </p:pic>
      <p:pic>
        <p:nvPicPr>
          <p:cNvPr id="10" name="Picture 9" descr="AT_OPS_LOGO_COLOUR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0400" y="5644800"/>
            <a:ext cx="1090800" cy="10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70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0315" y="1775535"/>
            <a:ext cx="8664605" cy="3923929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  <a:lvl2pPr marL="943950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2pPr>
            <a:lvl3pPr>
              <a:defRPr>
                <a:solidFill>
                  <a:schemeClr val="tx2"/>
                </a:solidFill>
                <a:latin typeface="+mn-lt"/>
              </a:defRPr>
            </a:lvl3pPr>
            <a:lvl4pPr marL="1917612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4pPr>
            <a:lvl5pPr marL="2404444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4817" y="907872"/>
            <a:ext cx="8660103" cy="752795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text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00858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33600" y="1774800"/>
            <a:ext cx="4240800" cy="3924000"/>
          </a:xfrm>
          <a:prstGeom prst="rect">
            <a:avLst/>
          </a:prstGeom>
          <a:ln>
            <a:noFill/>
          </a:ln>
        </p:spPr>
        <p:txBody>
          <a:bodyPr lIns="91424" tIns="45712" rIns="91424" bIns="45712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  <a:lvl2pPr marL="943950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2pPr>
            <a:lvl3pPr>
              <a:defRPr>
                <a:solidFill>
                  <a:schemeClr val="tx2"/>
                </a:solidFill>
                <a:latin typeface="+mn-lt"/>
              </a:defRPr>
            </a:lvl3pPr>
            <a:lvl4pPr marL="1917612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4pPr>
            <a:lvl5pPr marL="2404444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54400" y="1774799"/>
            <a:ext cx="4240800" cy="3924000"/>
          </a:xfrm>
          <a:prstGeom prst="rect">
            <a:avLst/>
          </a:prstGeom>
          <a:ln>
            <a:noFill/>
          </a:ln>
        </p:spPr>
        <p:txBody>
          <a:bodyPr lIns="91424" tIns="45712" rIns="91424" bIns="45712"/>
          <a:lstStyle>
            <a:lvl1pPr marL="457118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1pPr>
            <a:lvl2pPr marL="943950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2pPr>
            <a:lvl3pPr marL="1430782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3pPr>
            <a:lvl4pPr marL="1917612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4pPr>
            <a:lvl5pPr marL="2404444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33601" y="907200"/>
            <a:ext cx="8661600" cy="752400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3800" b="1"/>
            </a:lvl1pPr>
          </a:lstStyle>
          <a:p>
            <a:r>
              <a:rPr lang="en-US" dirty="0"/>
              <a:t>Click to add title text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395272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0000" y="1774800"/>
            <a:ext cx="4240800" cy="581281"/>
          </a:xfrm>
          <a:prstGeom prst="rect">
            <a:avLst/>
          </a:prstGeom>
        </p:spPr>
        <p:txBody>
          <a:bodyPr lIns="91424" tIns="45712" rIns="91424" bIns="45712" anchor="b"/>
          <a:lstStyle>
            <a:lvl1pPr marL="0" indent="0">
              <a:buNone/>
              <a:defRPr sz="2600" b="1"/>
            </a:lvl1pPr>
            <a:lvl2pPr marL="486832" indent="0">
              <a:buNone/>
              <a:defRPr sz="2100" b="1"/>
            </a:lvl2pPr>
            <a:lvl3pPr marL="973662" indent="0">
              <a:buNone/>
              <a:defRPr sz="1900" b="1"/>
            </a:lvl3pPr>
            <a:lvl4pPr marL="1460494" indent="0">
              <a:buNone/>
              <a:defRPr sz="1700" b="1"/>
            </a:lvl4pPr>
            <a:lvl5pPr marL="1947325" indent="0">
              <a:buNone/>
              <a:defRPr sz="1700" b="1"/>
            </a:lvl5pPr>
            <a:lvl6pPr marL="2434157" indent="0">
              <a:buNone/>
              <a:defRPr sz="1700" b="1"/>
            </a:lvl6pPr>
            <a:lvl7pPr marL="2920988" indent="0">
              <a:buNone/>
              <a:defRPr sz="1700" b="1"/>
            </a:lvl7pPr>
            <a:lvl8pPr marL="3407819" indent="0">
              <a:buNone/>
              <a:defRPr sz="1700" b="1"/>
            </a:lvl8pPr>
            <a:lvl9pPr marL="3894651" indent="0">
              <a:buNone/>
              <a:defRPr sz="1700" b="1"/>
            </a:lvl9pPr>
          </a:lstStyle>
          <a:p>
            <a:pPr lvl="0"/>
            <a:r>
              <a:rPr lang="en-AU" dirty="0"/>
              <a:t>Click to 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4400" y="1774800"/>
            <a:ext cx="4240800" cy="583200"/>
          </a:xfrm>
          <a:prstGeom prst="rect">
            <a:avLst/>
          </a:prstGeom>
        </p:spPr>
        <p:txBody>
          <a:bodyPr lIns="91424" tIns="45712" rIns="91424" bIns="45712" anchor="b"/>
          <a:lstStyle>
            <a:lvl1pPr marL="0" indent="0">
              <a:buNone/>
              <a:defRPr sz="2600" b="1"/>
            </a:lvl1pPr>
            <a:lvl2pPr marL="486832" indent="0">
              <a:buNone/>
              <a:defRPr sz="2100" b="1"/>
            </a:lvl2pPr>
            <a:lvl3pPr marL="973662" indent="0">
              <a:buNone/>
              <a:defRPr sz="1900" b="1"/>
            </a:lvl3pPr>
            <a:lvl4pPr marL="1460494" indent="0">
              <a:buNone/>
              <a:defRPr sz="1700" b="1"/>
            </a:lvl4pPr>
            <a:lvl5pPr marL="1947325" indent="0">
              <a:buNone/>
              <a:defRPr sz="1700" b="1"/>
            </a:lvl5pPr>
            <a:lvl6pPr marL="2434157" indent="0">
              <a:buNone/>
              <a:defRPr sz="1700" b="1"/>
            </a:lvl6pPr>
            <a:lvl7pPr marL="2920988" indent="0">
              <a:buNone/>
              <a:defRPr sz="1700" b="1"/>
            </a:lvl7pPr>
            <a:lvl8pPr marL="3407819" indent="0">
              <a:buNone/>
              <a:defRPr sz="1700" b="1"/>
            </a:lvl8pPr>
            <a:lvl9pPr marL="3894651" indent="0">
              <a:buNone/>
              <a:defRPr sz="1700" b="1"/>
            </a:lvl9pPr>
          </a:lstStyle>
          <a:p>
            <a:pPr lvl="0"/>
            <a:r>
              <a:rPr lang="en-AU" dirty="0"/>
              <a:t>Click to add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3601" y="907200"/>
            <a:ext cx="8661600" cy="752400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3800" b="1"/>
            </a:lvl1pPr>
          </a:lstStyle>
          <a:p>
            <a:r>
              <a:rPr lang="en-US" dirty="0"/>
              <a:t>Click to add title text</a:t>
            </a:r>
            <a:endParaRPr lang="en-NZ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633600" y="2356080"/>
            <a:ext cx="4240800" cy="3342719"/>
          </a:xfrm>
          <a:prstGeom prst="rect">
            <a:avLst/>
          </a:prstGeom>
          <a:ln>
            <a:noFill/>
          </a:ln>
        </p:spPr>
        <p:txBody>
          <a:bodyPr lIns="91424" tIns="45712" rIns="91424" bIns="45712"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  <a:lvl2pPr marL="943950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2pPr>
            <a:lvl3pPr>
              <a:defRPr>
                <a:solidFill>
                  <a:schemeClr val="tx2"/>
                </a:solidFill>
                <a:latin typeface="+mn-lt"/>
              </a:defRPr>
            </a:lvl3pPr>
            <a:lvl4pPr marL="1917612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4pPr>
            <a:lvl5pPr marL="2404444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054400" y="2356079"/>
            <a:ext cx="4240800" cy="3342719"/>
          </a:xfrm>
          <a:prstGeom prst="rect">
            <a:avLst/>
          </a:prstGeom>
          <a:ln>
            <a:noFill/>
          </a:ln>
        </p:spPr>
        <p:txBody>
          <a:bodyPr lIns="91424" tIns="45712" rIns="91424" bIns="45712"/>
          <a:lstStyle>
            <a:lvl1pPr marL="457118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1pPr>
            <a:lvl2pPr marL="943950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2pPr>
            <a:lvl3pPr marL="1430782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3pPr>
            <a:lvl4pPr marL="1917612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4pPr>
            <a:lvl5pPr marL="2404444" indent="-457118">
              <a:buFont typeface="Arial" pitchFamily="34" charset="0"/>
              <a:buChar char="•"/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013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3601" y="907200"/>
            <a:ext cx="8661600" cy="752400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text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6777563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0141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7.jp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6.jp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4153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68" r:id="rId3"/>
    <p:sldLayoutId id="2147483669" r:id="rId4"/>
  </p:sldLayoutIdLst>
  <p:txStyles>
    <p:titleStyle>
      <a:lvl1pPr algn="ctr" defTabSz="91423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9" indent="-342839" algn="l" defTabSz="91423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17" indent="-285699" algn="l" defTabSz="91423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96" indent="-228560" algn="l" defTabSz="91423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15" indent="-228560" algn="l" defTabSz="91423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34" indent="-228560" algn="l" defTabSz="91423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52" indent="-228560" algn="l" defTabSz="91423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71" indent="-228560" algn="l" defTabSz="91423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89" indent="-228560" algn="l" defTabSz="91423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09" indent="-228560" algn="l" defTabSz="91423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8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6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4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3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2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1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49" algn="l" defTabSz="914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 bwMode="auto">
          <a:xfrm>
            <a:off x="236862" y="300101"/>
            <a:ext cx="9416901" cy="0"/>
          </a:xfrm>
          <a:prstGeom prst="line">
            <a:avLst/>
          </a:prstGeom>
          <a:blipFill dpi="0" rotWithShape="0">
            <a:blip r:embed="rId9"/>
            <a:srcRect/>
            <a:tile tx="0" ty="0" sx="100000" sy="100000" flip="none" algn="tl"/>
          </a:blipFill>
          <a:ln w="57150" cap="flat" cmpd="sng" algn="ctr">
            <a:solidFill>
              <a:srgbClr val="1C3C5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itle 1"/>
          <p:cNvSpPr txBox="1">
            <a:spLocks/>
          </p:cNvSpPr>
          <p:nvPr/>
        </p:nvSpPr>
        <p:spPr>
          <a:xfrm>
            <a:off x="7395906" y="368367"/>
            <a:ext cx="2257854" cy="209649"/>
          </a:xfrm>
          <a:prstGeom prst="rect">
            <a:avLst/>
          </a:prstGeom>
          <a:ln>
            <a:noFill/>
          </a:ln>
        </p:spPr>
        <p:txBody>
          <a:bodyPr lIns="68464" tIns="34233" rIns="68464" bIns="34233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+mj-lt"/>
                <a:ea typeface="+mj-ea"/>
                <a:cs typeface="+mj-cs"/>
                <a:sym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8400">
                <a:solidFill>
                  <a:srgbClr val="FFFFFF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algn="r"/>
            <a:fld id="{F3D167F0-9A35-4B2A-93A9-F24DD6D12FFA}" type="slidenum">
              <a:rPr lang="en-US" sz="900" smtClean="0">
                <a:solidFill>
                  <a:schemeClr val="tx2"/>
                </a:solidFill>
              </a:rPr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3" y="6379902"/>
            <a:ext cx="1658869" cy="577615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 bwMode="auto">
          <a:xfrm>
            <a:off x="236860" y="6379902"/>
            <a:ext cx="8425649" cy="0"/>
          </a:xfrm>
          <a:prstGeom prst="line">
            <a:avLst/>
          </a:prstGeom>
          <a:blipFill dpi="0" rotWithShape="0">
            <a:blip r:embed="rId9"/>
            <a:srcRect/>
            <a:tile tx="0" ty="0" sx="100000" sy="100000" flip="none" algn="tl"/>
          </a:blipFill>
          <a:ln w="12700" cap="flat" cmpd="sng" algn="ctr">
            <a:solidFill>
              <a:srgbClr val="1C3C5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000" y="6012000"/>
            <a:ext cx="938338" cy="9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770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8" r:id="rId2"/>
    <p:sldLayoutId id="2147483679" r:id="rId3"/>
    <p:sldLayoutId id="2147483680" r:id="rId4"/>
    <p:sldLayoutId id="2147483681" r:id="rId5"/>
    <p:sldLayoutId id="2147483694" r:id="rId6"/>
    <p:sldLayoutId id="2147483699" r:id="rId7"/>
  </p:sldLayoutIdLst>
  <p:txStyles>
    <p:titleStyle>
      <a:lvl1pPr algn="ctr" defTabSz="486832" rtl="0" eaLnBrk="1" latinLnBrk="0" hangingPunct="1">
        <a:spcBef>
          <a:spcPct val="0"/>
        </a:spcBef>
        <a:buNone/>
        <a:defRPr sz="3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5124" indent="-365124" algn="l" defTabSz="486832" rtl="0" eaLnBrk="1" latinLnBrk="0" hangingPunct="1">
        <a:spcBef>
          <a:spcPct val="20000"/>
        </a:spcBef>
        <a:buFont typeface="Arial"/>
        <a:buChar char="•"/>
        <a:defRPr sz="2700" kern="1200" baseline="0">
          <a:solidFill>
            <a:schemeClr val="tx2"/>
          </a:solidFill>
          <a:latin typeface="Calibri" pitchFamily="34" charset="0"/>
          <a:ea typeface="+mn-ea"/>
          <a:cs typeface="+mn-cs"/>
        </a:defRPr>
      </a:lvl1pPr>
      <a:lvl2pPr marL="791101" indent="-304269" algn="l" defTabSz="486832" rtl="0" eaLnBrk="1" latinLnBrk="0" hangingPunct="1">
        <a:spcBef>
          <a:spcPct val="20000"/>
        </a:spcBef>
        <a:buFont typeface="Arial"/>
        <a:buChar char="–"/>
        <a:defRPr sz="2700" kern="1200" baseline="0">
          <a:solidFill>
            <a:schemeClr val="tx2"/>
          </a:solidFill>
          <a:latin typeface="Calibri" pitchFamily="34" charset="0"/>
          <a:ea typeface="+mn-ea"/>
          <a:cs typeface="+mn-cs"/>
        </a:defRPr>
      </a:lvl2pPr>
      <a:lvl3pPr marL="1217079" indent="-243415" algn="l" defTabSz="486832" rtl="0" eaLnBrk="1" latinLnBrk="0" hangingPunct="1">
        <a:spcBef>
          <a:spcPct val="20000"/>
        </a:spcBef>
        <a:buFont typeface="Arial"/>
        <a:buChar char="•"/>
        <a:defRPr sz="2700" kern="1200" baseline="0">
          <a:solidFill>
            <a:schemeClr val="tx2"/>
          </a:solidFill>
          <a:latin typeface="Calibri" pitchFamily="34" charset="0"/>
          <a:ea typeface="+mn-ea"/>
          <a:cs typeface="+mn-cs"/>
        </a:defRPr>
      </a:lvl3pPr>
      <a:lvl4pPr marL="1703909" indent="-243415" algn="l" defTabSz="486832" rtl="0" eaLnBrk="1" latinLnBrk="0" hangingPunct="1">
        <a:spcBef>
          <a:spcPct val="20000"/>
        </a:spcBef>
        <a:buFont typeface="Arial"/>
        <a:buChar char="–"/>
        <a:defRPr sz="2700" kern="1200" baseline="0">
          <a:solidFill>
            <a:schemeClr val="tx2"/>
          </a:solidFill>
          <a:latin typeface="Calibri" pitchFamily="34" charset="0"/>
          <a:ea typeface="+mn-ea"/>
          <a:cs typeface="+mn-cs"/>
        </a:defRPr>
      </a:lvl4pPr>
      <a:lvl5pPr marL="2190741" indent="-243415" algn="l" defTabSz="486832" rtl="0" eaLnBrk="1" latinLnBrk="0" hangingPunct="1">
        <a:spcBef>
          <a:spcPct val="20000"/>
        </a:spcBef>
        <a:buFont typeface="Arial"/>
        <a:buChar char="»"/>
        <a:defRPr sz="2700" kern="1200" baseline="0">
          <a:solidFill>
            <a:schemeClr val="tx2"/>
          </a:solidFill>
          <a:latin typeface="Calibri" pitchFamily="34" charset="0"/>
          <a:ea typeface="+mn-ea"/>
          <a:cs typeface="+mn-cs"/>
        </a:defRPr>
      </a:lvl5pPr>
      <a:lvl6pPr marL="2677572" indent="-243415" algn="l" defTabSz="48683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64404" indent="-243415" algn="l" defTabSz="48683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1235" indent="-243415" algn="l" defTabSz="48683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38066" indent="-243415" algn="l" defTabSz="48683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6832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3662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0494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47325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4157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0988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07819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94651" algn="l" defTabSz="4868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542" y="2391080"/>
            <a:ext cx="9058415" cy="929198"/>
          </a:xfrm>
        </p:spPr>
        <p:txBody>
          <a:bodyPr/>
          <a:lstStyle/>
          <a:p>
            <a:r>
              <a:rPr lang="en-NZ" sz="4200" dirty="0"/>
              <a:t>Digital &amp;Technology Delivery </a:t>
            </a:r>
            <a:br>
              <a:rPr lang="en-NZ" sz="4800" dirty="0"/>
            </a:br>
            <a:r>
              <a:rPr lang="en-NZ" sz="3600" dirty="0"/>
              <a:t>Confirmed</a:t>
            </a:r>
            <a:r>
              <a:rPr lang="en-NZ" sz="4800" dirty="0"/>
              <a:t> </a:t>
            </a:r>
            <a:r>
              <a:rPr lang="en-NZ" sz="3600" dirty="0"/>
              <a:t>Team Changes</a:t>
            </a:r>
            <a:br>
              <a:rPr lang="en-NZ" sz="3600" dirty="0"/>
            </a:br>
            <a:br>
              <a:rPr lang="en-NZ" sz="3600" dirty="0"/>
            </a:br>
            <a:r>
              <a:rPr lang="en-NZ" sz="3200" dirty="0">
                <a:solidFill>
                  <a:schemeClr val="accent3"/>
                </a:solidFill>
              </a:rPr>
              <a:t>Programme Support Team &amp; </a:t>
            </a:r>
            <a:br>
              <a:rPr lang="en-NZ" sz="3200" dirty="0">
                <a:solidFill>
                  <a:schemeClr val="accent3"/>
                </a:solidFill>
              </a:rPr>
            </a:br>
            <a:r>
              <a:rPr lang="en-NZ" sz="3200" dirty="0">
                <a:solidFill>
                  <a:schemeClr val="accent3"/>
                </a:solidFill>
              </a:rPr>
              <a:t>Intelligent Transport Systems Team</a:t>
            </a:r>
          </a:p>
        </p:txBody>
      </p:sp>
    </p:spTree>
    <p:extLst>
      <p:ext uri="{BB962C8B-B14F-4D97-AF65-F5344CB8AC3E}">
        <p14:creationId xmlns:p14="http://schemas.microsoft.com/office/powerpoint/2010/main" val="1942753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Z" sz="3200" dirty="0"/>
              <a:t>Confirmed timeline</a:t>
            </a:r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1203812"/>
              </p:ext>
            </p:extLst>
          </p:nvPr>
        </p:nvGraphicFramePr>
        <p:xfrm>
          <a:off x="1349829" y="1912469"/>
          <a:ext cx="7930697" cy="19222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90948">
                  <a:extLst>
                    <a:ext uri="{9D8B030D-6E8A-4147-A177-3AD203B41FA5}">
                      <a16:colId xmlns:a16="http://schemas.microsoft.com/office/drawing/2014/main" val="740518999"/>
                    </a:ext>
                  </a:extLst>
                </a:gridCol>
                <a:gridCol w="5239749">
                  <a:extLst>
                    <a:ext uri="{9D8B030D-6E8A-4147-A177-3AD203B41FA5}">
                      <a16:colId xmlns:a16="http://schemas.microsoft.com/office/drawing/2014/main" val="1081951779"/>
                    </a:ext>
                  </a:extLst>
                </a:gridCol>
              </a:tblGrid>
              <a:tr h="3188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NZ" sz="1600" spc="100" dirty="0">
                          <a:effectLst/>
                        </a:rPr>
                        <a:t>DATE</a:t>
                      </a:r>
                      <a:endParaRPr lang="en-NZ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NZ" sz="1600" spc="100" dirty="0">
                          <a:effectLst/>
                        </a:rPr>
                        <a:t>ACTION</a:t>
                      </a:r>
                      <a:endParaRPr lang="en-NZ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82986172"/>
                  </a:ext>
                </a:extLst>
              </a:tr>
              <a:tr h="313226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NZ" sz="1400" dirty="0">
                          <a:effectLst/>
                          <a:latin typeface="+mn-lt"/>
                          <a:ea typeface="MS Mincho"/>
                          <a:cs typeface="Times New Roman" panose="02020603050405020304" pitchFamily="18" charset="0"/>
                        </a:rPr>
                        <a:t>Thursday, 21 November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NZ" sz="1400" dirty="0">
                          <a:effectLst/>
                          <a:latin typeface="+mn-lt"/>
                          <a:ea typeface="MS Mincho"/>
                          <a:cs typeface="Times New Roman" panose="02020603050405020304" pitchFamily="18" charset="0"/>
                        </a:rPr>
                        <a:t>Meetings with any affected team members to discuss outcomes of the review.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19246816"/>
                  </a:ext>
                </a:extLst>
              </a:tr>
              <a:tr h="313226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NZ" sz="1400" dirty="0">
                          <a:effectLst/>
                          <a:latin typeface="+mn-lt"/>
                          <a:ea typeface="MS Mincho"/>
                          <a:cs typeface="Times New Roman" panose="02020603050405020304" pitchFamily="18" charset="0"/>
                        </a:rPr>
                        <a:t>Thursday, 21 – Thursday 30 November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NZ" sz="1400" baseline="0" dirty="0">
                          <a:effectLst/>
                          <a:latin typeface="+mn-lt"/>
                          <a:ea typeface="+mn-ea"/>
                          <a:cs typeface="+mn-cs"/>
                        </a:rPr>
                        <a:t>Advertising of new role commences</a:t>
                      </a:r>
                      <a:endParaRPr lang="en-NZ" sz="1400" dirty="0">
                        <a:effectLst/>
                        <a:latin typeface="+mn-lt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05877014"/>
                  </a:ext>
                </a:extLst>
              </a:tr>
              <a:tr h="313226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NZ" sz="1400" dirty="0">
                          <a:effectLst/>
                          <a:latin typeface="+mn-lt"/>
                          <a:ea typeface="MS Mincho"/>
                          <a:cs typeface="Times New Roman" panose="02020603050405020304" pitchFamily="18" charset="0"/>
                        </a:rPr>
                        <a:t>Week of </a:t>
                      </a:r>
                      <a:r>
                        <a:rPr lang="en-NZ" sz="1400" baseline="0" dirty="0">
                          <a:effectLst/>
                          <a:latin typeface="+mn-lt"/>
                          <a:ea typeface="MS Mincho"/>
                          <a:cs typeface="Times New Roman" panose="02020603050405020304" pitchFamily="18" charset="0"/>
                        </a:rPr>
                        <a:t> 2 December</a:t>
                      </a:r>
                      <a:endParaRPr lang="en-NZ" sz="1400" dirty="0">
                        <a:effectLst/>
                        <a:latin typeface="+mn-lt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NZ" sz="1400" dirty="0">
                          <a:effectLst/>
                          <a:latin typeface="+mn-lt"/>
                        </a:rPr>
                        <a:t>Interviews and selection</a:t>
                      </a:r>
                      <a:endParaRPr lang="en-NZ" sz="1400" dirty="0">
                        <a:effectLst/>
                        <a:latin typeface="+mn-lt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36896419"/>
                  </a:ext>
                </a:extLst>
              </a:tr>
              <a:tr h="313226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NZ" sz="1400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MS Mincho"/>
                          <a:cs typeface="Times New Roman" panose="02020603050405020304" pitchFamily="18" charset="0"/>
                        </a:rPr>
                        <a:t>2 December 2019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NZ" sz="1400" dirty="0">
                          <a:effectLst/>
                          <a:latin typeface="+mn-lt"/>
                          <a:ea typeface="MS Mincho"/>
                          <a:cs typeface="Times New Roman" panose="02020603050405020304" pitchFamily="18" charset="0"/>
                        </a:rPr>
                        <a:t>New structure effective.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136955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5026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T Non Photographic Presentation">
  <a:themeElements>
    <a:clrScheme name="Auckland Transport">
      <a:dk1>
        <a:srgbClr val="262626"/>
      </a:dk1>
      <a:lt1>
        <a:sysClr val="window" lastClr="FFFFFF"/>
      </a:lt1>
      <a:dk2>
        <a:srgbClr val="283D51"/>
      </a:dk2>
      <a:lt2>
        <a:srgbClr val="428FBF"/>
      </a:lt2>
      <a:accent1>
        <a:srgbClr val="283D51"/>
      </a:accent1>
      <a:accent2>
        <a:srgbClr val="428FBF"/>
      </a:accent2>
      <a:accent3>
        <a:srgbClr val="87A03E"/>
      </a:accent3>
      <a:accent4>
        <a:srgbClr val="EE2E25"/>
      </a:accent4>
      <a:accent5>
        <a:srgbClr val="262626"/>
      </a:accent5>
      <a:accent6>
        <a:srgbClr val="000000"/>
      </a:accent6>
      <a:hlink>
        <a:srgbClr val="428FBF"/>
      </a:hlink>
      <a:folHlink>
        <a:srgbClr val="EE2E25"/>
      </a:folHlink>
    </a:clrScheme>
    <a:fontScheme name="ATransp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uckland Transport">
  <a:themeElements>
    <a:clrScheme name="Auckland Transport">
      <a:dk1>
        <a:srgbClr val="262626"/>
      </a:dk1>
      <a:lt1>
        <a:sysClr val="window" lastClr="FFFFFF"/>
      </a:lt1>
      <a:dk2>
        <a:srgbClr val="283D51"/>
      </a:dk2>
      <a:lt2>
        <a:srgbClr val="428FBF"/>
      </a:lt2>
      <a:accent1>
        <a:srgbClr val="283D51"/>
      </a:accent1>
      <a:accent2>
        <a:srgbClr val="428FBF"/>
      </a:accent2>
      <a:accent3>
        <a:srgbClr val="87A03E"/>
      </a:accent3>
      <a:accent4>
        <a:srgbClr val="EE2E25"/>
      </a:accent4>
      <a:accent5>
        <a:srgbClr val="262626"/>
      </a:accent5>
      <a:accent6>
        <a:srgbClr val="000000"/>
      </a:accent6>
      <a:hlink>
        <a:srgbClr val="428FBF"/>
      </a:hlink>
      <a:folHlink>
        <a:srgbClr val="EE2E25"/>
      </a:folHlink>
    </a:clrScheme>
    <a:fontScheme name="ATransp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6246e-9127-47dc-83ec-dd09249a5dc8">
      <Value>269</Value>
      <Value>423</Value>
      <Value>4536</Value>
      <Value>402</Value>
      <Value>195</Value>
      <Value>4629</Value>
      <Value>4533</Value>
      <Value>919</Value>
    </TaxCatchAll>
    <D1_x0020_Disposal_x0020_Trigger_x0020_Date xmlns="9d145242-00b1-420c-bdf5-8a682bc583c3">2019-12-01T11:00:00+00:00</D1_x0020_Disposal_x0020_Trigger_x0020_Date>
    <D1_x0020_Aggregation_x0020_ID xmlns="9d145242-00b1-420c-bdf5-8a682bc583c3"/>
    <D1_x0020_Disposal_x0020_Class_x0020_ID xmlns="9d145242-00b1-420c-bdf5-8a682bc583c3">
      <Value>ARR 001</Value>
    </D1_x0020_Disposal_x0020_Class_x0020_ID>
    <Disposition_x0020_Status xmlns="f7a48ea2-9aab-428b-b806-9c990958bd24" xsi:nil="true"/>
    <Rights xmlns="f7a48ea2-9aab-428b-b806-9c990958bd24" xsi:nil="true"/>
    <k57d764a6fc244559bf5b50eb99df43e xmlns="9d145242-00b1-420c-bdf5-8a682bc583c3">
      <Terms xmlns="http://schemas.microsoft.com/office/infopath/2007/PartnerControls"/>
    </k57d764a6fc244559bf5b50eb99df43e>
    <kdfbb0a7329d439caefd9a971edbb8cd xmlns="9d145242-00b1-420c-bdf5-8a682bc583c3">
      <Terms xmlns="http://schemas.microsoft.com/office/infopath/2007/PartnerControls"/>
    </kdfbb0a7329d439caefd9a971edbb8cd>
    <nd605c82a9bc46ec8937b4a4572b34b3 xmlns="9d145242-00b1-420c-bdf5-8a682bc583c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ravel Itinerary</TermName>
          <TermId xmlns="http://schemas.microsoft.com/office/infopath/2007/PartnerControls">5f4acb75-08a5-409e-a73e-14eb10dff621</TermId>
        </TermInfo>
      </Terms>
    </nd605c82a9bc46ec8937b4a4572b34b3>
    <k8084bc19ea742338c221540c3e4aaca xmlns="9d145242-00b1-420c-bdf5-8a682bc583c3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nager</TermName>
          <TermId xmlns="http://schemas.microsoft.com/office/infopath/2007/PartnerControls">8fd21788-a6de-4cfb-879c-24e42f8a67a9</TermId>
        </TermInfo>
        <TermInfo xmlns="http://schemas.microsoft.com/office/infopath/2007/PartnerControls">
          <TermName xmlns="http://schemas.microsoft.com/office/infopath/2007/PartnerControls">Analyst</TermName>
          <TermId xmlns="http://schemas.microsoft.com/office/infopath/2007/PartnerControls">eac05e4e-c3ef-4940-9986-2f5b29f22bc1</TermId>
        </TermInfo>
        <TermInfo xmlns="http://schemas.microsoft.com/office/infopath/2007/PartnerControls">
          <TermName xmlns="http://schemas.microsoft.com/office/infopath/2007/PartnerControls">CCTV Specialist</TermName>
          <TermId xmlns="http://schemas.microsoft.com/office/infopath/2007/PartnerControls">d5addff7-acfa-4700-94d8-426ae0b8356f</TermId>
        </TermInfo>
        <TermInfo xmlns="http://schemas.microsoft.com/office/infopath/2007/PartnerControls">
          <TermName xmlns="http://schemas.microsoft.com/office/infopath/2007/PartnerControls">Business Analyst</TermName>
          <TermId xmlns="http://schemas.microsoft.com/office/infopath/2007/PartnerControls">6d16e700-cf54-473d-8ce1-69e521b9f4b0</TermId>
        </TermInfo>
        <TermInfo xmlns="http://schemas.microsoft.com/office/infopath/2007/PartnerControls">
          <TermName xmlns="http://schemas.microsoft.com/office/infopath/2007/PartnerControls">Programme Manager</TermName>
          <TermId xmlns="http://schemas.microsoft.com/office/infopath/2007/PartnerControls">0656f908-83a1-4984-9703-71de0025bf6c</TermId>
        </TermInfo>
      </Terms>
    </k8084bc19ea742338c221540c3e4aaca>
    <i5b5140ea7094cbf99b2202c3f85b284 xmlns="f7a48ea2-9aab-428b-b806-9c990958bd24" xsi:nil="true"/>
    <db6c96b69cbd4d5883320ccb9273f0ba xmlns="f7a48ea2-9aab-428b-b806-9c990958bd24">
      <Terms xmlns="http://schemas.microsoft.com/office/infopath/2007/PartnerControls"/>
    </db6c96b69cbd4d5883320ccb9273f0ba>
    <d5d3646f9c70424791993f80e771195c xmlns="9d145242-00b1-420c-bdf5-8a682bc583c3">
      <Terms xmlns="http://schemas.microsoft.com/office/infopath/2007/PartnerControls"/>
    </d5d3646f9c70424791993f80e771195c>
    <Vital_x0020_Record xmlns="f7a48ea2-9aab-428b-b806-9c990958bd24">false</Vital_x0020_Record>
    <o30167b90cfa440f8f0274089dc69474 xmlns="9d145242-00b1-420c-bdf5-8a682bc583c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lligent Transport Systems</TermName>
          <TermId xmlns="http://schemas.microsoft.com/office/infopath/2007/PartnerControls">6ab5876e-de5f-4141-873e-53bd97aee1a1</TermId>
        </TermInfo>
        <TermInfo xmlns="http://schemas.microsoft.com/office/infopath/2007/PartnerControls">
          <TermName xmlns="http://schemas.microsoft.com/office/infopath/2007/PartnerControls">Digital technology</TermName>
          <TermId xmlns="http://schemas.microsoft.com/office/infopath/2007/PartnerControls">ae8d5d08-6d6e-498c-b837-5555e04f7c3a</TermId>
        </TermInfo>
      </Terms>
    </o30167b90cfa440f8f0274089dc69474>
    <b5e715a5ff454a2f820f12b808dc843a xmlns="9d145242-00b1-420c-bdf5-8a682bc583c3">
      <Terms xmlns="http://schemas.microsoft.com/office/infopath/2007/PartnerControls"/>
    </b5e715a5ff454a2f820f12b808dc843a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AT Document" ma:contentTypeID="0x010100FFFD2376E5DF9F42BE89CD8AD47FA9BF00674C40E0462A444D935A0EAE8FE96EBF" ma:contentTypeVersion="1808" ma:contentTypeDescription="Core metadata required on all Document Content Types used by Auckland Transport." ma:contentTypeScope="" ma:versionID="653264a4ad656bd4b331b4391aafa773">
  <xsd:schema xmlns:xsd="http://www.w3.org/2001/XMLSchema" xmlns:xs="http://www.w3.org/2001/XMLSchema" xmlns:p="http://schemas.microsoft.com/office/2006/metadata/properties" xmlns:ns2="f7a48ea2-9aab-428b-b806-9c990958bd24" xmlns:ns4="6656246e-9127-47dc-83ec-dd09249a5dc8" xmlns:ns5="9d145242-00b1-420c-bdf5-8a682bc583c3" targetNamespace="http://schemas.microsoft.com/office/2006/metadata/properties" ma:root="true" ma:fieldsID="59ba05b6a9f0831c343724cbbab8d909" ns2:_="" ns4:_="" ns5:_="">
    <xsd:import namespace="f7a48ea2-9aab-428b-b806-9c990958bd24"/>
    <xsd:import namespace="6656246e-9127-47dc-83ec-dd09249a5dc8"/>
    <xsd:import namespace="9d145242-00b1-420c-bdf5-8a682bc583c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db6c96b69cbd4d5883320ccb9273f0ba" minOccurs="0"/>
                <xsd:element ref="ns4:TaxCatchAll" minOccurs="0"/>
                <xsd:element ref="ns4:TaxCatchAllLabel" minOccurs="0"/>
                <xsd:element ref="ns2:i5b5140ea7094cbf99b2202c3f85b284" minOccurs="0"/>
                <xsd:element ref="ns2:Vital_x0020_Record" minOccurs="0"/>
                <xsd:element ref="ns2:Disposition_x0020_Status" minOccurs="0"/>
                <xsd:element ref="ns2:Rights" minOccurs="0"/>
                <xsd:element ref="ns5:nd605c82a9bc46ec8937b4a4572b34b3" minOccurs="0"/>
                <xsd:element ref="ns5:o30167b90cfa440f8f0274089dc69474" minOccurs="0"/>
                <xsd:element ref="ns5:d5d3646f9c70424791993f80e771195c" minOccurs="0"/>
                <xsd:element ref="ns5:k8084bc19ea742338c221540c3e4aaca" minOccurs="0"/>
                <xsd:element ref="ns5:k57d764a6fc244559bf5b50eb99df43e" minOccurs="0"/>
                <xsd:element ref="ns5:kdfbb0a7329d439caefd9a971edbb8cd" minOccurs="0"/>
                <xsd:element ref="ns5:MediaServiceMetadata" minOccurs="0"/>
                <xsd:element ref="ns5:MediaServiceFastMetadata" minOccurs="0"/>
                <xsd:element ref="ns2:SharedWithUsers" minOccurs="0"/>
                <xsd:element ref="ns2:SharedWithDetails" minOccurs="0"/>
                <xsd:element ref="ns5:D1_x0020_Disposal_x0020_Trigger_x0020_Date" minOccurs="0"/>
                <xsd:element ref="ns5:D1_x0020_Disposal_x0020_Class_x0020_ID" minOccurs="0"/>
                <xsd:element ref="ns5:D1_x0020_Aggregation_x0020_ID" minOccurs="0"/>
                <xsd:element ref="ns5:b5e715a5ff454a2f820f12b808dc843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a48ea2-9aab-428b-b806-9c990958bd2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db6c96b69cbd4d5883320ccb9273f0ba" ma:index="12" nillable="true" ma:taxonomy="true" ma:internalName="db6c96b69cbd4d5883320ccb9273f0ba" ma:taxonomyFieldName="Business_x0020_Unit" ma:displayName="Business Unit" ma:readOnly="false" ma:fieldId="{db6c96b6-9cbd-4d58-8332-0ccb9273f0ba}" ma:sspId="ff230ced-49e3-4bbb-87bd-09c1ed00c10a" ma:termSetId="eee8957c-7770-4efb-abbf-af700d6ea6a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5b5140ea7094cbf99b2202c3f85b284" ma:index="16" nillable="true" ma:displayName="RM Context_0" ma:hidden="true" ma:internalName="i5b5140ea7094cbf99b2202c3f85b284" ma:readOnly="false">
      <xsd:simpleType>
        <xsd:restriction base="dms:Note"/>
      </xsd:simpleType>
    </xsd:element>
    <xsd:element name="Vital_x0020_Record" ma:index="18" nillable="true" ma:displayName="Vital Record" ma:default="0" ma:internalName="Vital_x0020_Record" ma:readOnly="false">
      <xsd:simpleType>
        <xsd:restriction base="dms:Boolean"/>
      </xsd:simpleType>
    </xsd:element>
    <xsd:element name="Disposition_x0020_Status" ma:index="19" nillable="true" ma:displayName="Disposition Status" ma:format="Dropdown" ma:hidden="true" ma:internalName="Disposition_x0020_Status" ma:readOnly="false">
      <xsd:simpleType>
        <xsd:restriction base="dms:Choice">
          <xsd:enumeration value="Approved"/>
          <xsd:enumeration value="Archived"/>
          <xsd:enumeration value="Destroyed"/>
          <xsd:enumeration value="Qualified"/>
          <xsd:enumeration value="Transferred"/>
          <xsd:enumeration value="Verified"/>
          <xsd:enumeration value="Unknown"/>
        </xsd:restriction>
      </xsd:simpleType>
    </xsd:element>
    <xsd:element name="Rights" ma:index="20" nillable="true" ma:displayName="Rights" ma:format="Dropdown" ma:hidden="true" ma:internalName="Rights" ma:readOnly="false">
      <xsd:simpleType>
        <xsd:restriction base="dms:Choice">
          <xsd:enumeration value="Auhtorised Public Access"/>
          <xsd:enumeration value="Embargoed"/>
          <xsd:enumeration value="Intellectual Property"/>
          <xsd:enumeration value="LGOIMA"/>
          <xsd:enumeration value="OIA"/>
          <xsd:enumeration value="Personal"/>
          <xsd:enumeration value="Privacy Act"/>
          <xsd:enumeration value="Taonga"/>
        </xsd:restriction>
      </xsd:simpleType>
    </xsd:element>
    <xsd:element name="SharedWithUsers" ma:index="3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6246e-9127-47dc-83ec-dd09249a5dc8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82be67ea-11dd-44d3-8e81-cb96610ce98f}" ma:internalName="TaxCatchAll" ma:readOnly="false" ma:showField="CatchAllData" ma:web="f7a48ea2-9aab-428b-b806-9c990958bd2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4" nillable="true" ma:displayName="Taxonomy Catch All Column1" ma:hidden="true" ma:list="{82be67ea-11dd-44d3-8e81-cb96610ce98f}" ma:internalName="TaxCatchAllLabel" ma:readOnly="true" ma:showField="CatchAllDataLabel" ma:web="f7a48ea2-9aab-428b-b806-9c990958bd2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45242-00b1-420c-bdf5-8a682bc583c3" elementFormDefault="qualified">
    <xsd:import namespace="http://schemas.microsoft.com/office/2006/documentManagement/types"/>
    <xsd:import namespace="http://schemas.microsoft.com/office/infopath/2007/PartnerControls"/>
    <xsd:element name="nd605c82a9bc46ec8937b4a4572b34b3" ma:index="21" nillable="true" ma:taxonomy="true" ma:internalName="nd605c82a9bc46ec8937b4a4572b34b3" ma:taxonomyFieldName="D1_x0020_Document_x0020_Category" ma:displayName="D1 Document Category" ma:readOnly="false" ma:fieldId="{7d605c82-a9bc-46ec-8937-b4a4572b34b3}" ma:taxonomyMulti="true" ma:sspId="ff230ced-49e3-4bbb-87bd-09c1ed00c10a" ma:termSetId="6a8ad7e6-b84e-4481-a0fc-90483230992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30167b90cfa440f8f0274089dc69474" ma:index="23" nillable="true" ma:taxonomy="true" ma:internalName="o30167b90cfa440f8f0274089dc69474" ma:taxonomyFieldName="D1_x0020_Programme_x0020_Project" ma:displayName="D1 Programme Project" ma:readOnly="false" ma:fieldId="{830167b9-0cfa-440f-8f02-74089dc69474}" ma:taxonomyMulti="true" ma:sspId="ff230ced-49e3-4bbb-87bd-09c1ed00c10a" ma:termSetId="f9084cb8-3837-45ee-b19c-35f80270572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5d3646f9c70424791993f80e771195c" ma:index="25" nillable="true" ma:taxonomy="true" ma:internalName="d5d3646f9c70424791993f80e771195c" ma:taxonomyFieldName="D1_x0020_Subject" ma:displayName="D1 Subject" ma:readOnly="false" ma:fieldId="{d5d3646f-9c70-4247-9199-3f80e771195c}" ma:taxonomyMulti="true" ma:sspId="ff230ced-49e3-4bbb-87bd-09c1ed00c10a" ma:termSetId="12883479-ed34-4320-85a0-1e4c407e298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8084bc19ea742338c221540c3e4aaca" ma:index="27" nillable="true" ma:taxonomy="true" ma:internalName="k8084bc19ea742338c221540c3e4aaca" ma:taxonomyFieldName="D1_x0020_Business_x0020_Role" ma:displayName="D1 Business Role" ma:readOnly="false" ma:fieldId="{48084bc1-9ea7-4233-8c22-1540c3e4aaca}" ma:taxonomyMulti="true" ma:sspId="ff230ced-49e3-4bbb-87bd-09c1ed00c10a" ma:termSetId="80f95381-96f0-42eb-b2b8-fd9cfe5a9e7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57d764a6fc244559bf5b50eb99df43e" ma:index="29" nillable="true" ma:taxonomy="true" ma:internalName="k57d764a6fc244559bf5b50eb99df43e" ma:taxonomyFieldName="D1_x0020_Mandate" ma:displayName="D1 Mandate" ma:readOnly="false" ma:fieldId="{457d764a-6fc2-4455-9bf5-b50eb99df43e}" ma:taxonomyMulti="true" ma:sspId="ff230ced-49e3-4bbb-87bd-09c1ed00c10a" ma:termSetId="97e3a47a-91a3-46d1-aff3-208f5374068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dfbb0a7329d439caefd9a971edbb8cd" ma:index="31" nillable="true" ma:taxonomy="true" ma:internalName="kdfbb0a7329d439caefd9a971edbb8cd" ma:taxonomyFieldName="D1_x0020_Partners_x0020_Stakeholders" ma:displayName="D1 Partners Stakeholders" ma:readOnly="false" ma:fieldId="{4dfbb0a7-329d-439c-aefd-9a971edbb8cd}" ma:taxonomyMulti="true" ma:sspId="ff230ced-49e3-4bbb-87bd-09c1ed00c10a" ma:termSetId="068a3f1c-8d62-482f-ad29-bfcaa462325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4" nillable="true" ma:displayName="MediaServiceFastMetadata" ma:hidden="true" ma:internalName="MediaServiceFastMetadata" ma:readOnly="true">
      <xsd:simpleType>
        <xsd:restriction base="dms:Note"/>
      </xsd:simpleType>
    </xsd:element>
    <xsd:element name="D1_x0020_Disposal_x0020_Trigger_x0020_Date" ma:index="37" nillable="true" ma:displayName="D1 Disposal Trigger Date" ma:internalName="D1_x0020_Disposal_x0020_Trigger_x0020_Date">
      <xsd:simpleType>
        <xsd:restriction base="dms:DateTime"/>
      </xsd:simpleType>
    </xsd:element>
    <xsd:element name="D1_x0020_Disposal_x0020_Class_x0020_ID" ma:index="38" nillable="true" ma:displayName="D1 Disposal Class ID" ma:internalName="D1_x0020_Disposal_x0020_Class_x0020_ID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...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D1_x0020_Aggregation_x0020_ID" ma:index="39" nillable="true" ma:displayName="D1 Aggregation ID" ma:internalName="D1_x0020_Aggregation_x0020_ID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...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b5e715a5ff454a2f820f12b808dc843a" ma:index="41" nillable="true" ma:taxonomy="true" ma:internalName="b5e715a5ff454a2f820f12b808dc843a" ma:taxonomyFieldName="D1_x0020_Employee" ma:displayName="D1 Employee" ma:fieldId="{b5e715a5-ff45-4a2f-820f-12b808dc843a}" ma:taxonomyMulti="true" ma:sspId="ff230ced-49e3-4bbb-87bd-09c1ed00c10a" ma:termSetId="d29c0c87-eb1c-4140-8909-40449ef94d1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9CA5FC10-BDD2-4C2E-B919-A72C217ED8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9E2DCB8-0E0C-445F-88BD-859E972AFF32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DFF9C3B5-B771-4FE0-AA7E-D4AEA0789C90}">
  <ds:schemaRefs>
    <ds:schemaRef ds:uri="http://purl.org/dc/terms/"/>
    <ds:schemaRef ds:uri="http://schemas.microsoft.com/office/2006/documentManagement/types"/>
    <ds:schemaRef ds:uri="6656246e-9127-47dc-83ec-dd09249a5dc8"/>
    <ds:schemaRef ds:uri="9d145242-00b1-420c-bdf5-8a682bc583c3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f7a48ea2-9aab-428b-b806-9c990958bd24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F94C5FF5-6111-4908-BC58-778E3F7E83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a48ea2-9aab-428b-b806-9c990958bd24"/>
    <ds:schemaRef ds:uri="6656246e-9127-47dc-83ec-dd09249a5dc8"/>
    <ds:schemaRef ds:uri="9d145242-00b1-420c-bdf5-8a682bc583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34CFD54A-6705-4E2C-8099-F4C98C09ABC1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300</TotalTime>
  <Words>51</Words>
  <Application>Microsoft Office PowerPoint</Application>
  <PresentationFormat>Custom</PresentationFormat>
  <Paragraphs>1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MS Mincho</vt:lpstr>
      <vt:lpstr>Arial</vt:lpstr>
      <vt:lpstr>Calibri</vt:lpstr>
      <vt:lpstr>Cambria</vt:lpstr>
      <vt:lpstr>Times New Roman</vt:lpstr>
      <vt:lpstr>AT Non Photographic Presentation</vt:lpstr>
      <vt:lpstr>Auckland Transport</vt:lpstr>
      <vt:lpstr>think-cell Slide</vt:lpstr>
      <vt:lpstr>Digital &amp;Technology Delivery  Confirmed Team Changes  Programme Support Team &amp;  Intelligent Transport Systems Team</vt:lpstr>
      <vt:lpstr>PowerPoint Presentation</vt:lpstr>
    </vt:vector>
  </TitlesOfParts>
  <Company>Auckland Transpor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TD Team Changes</dc:title>
  <dc:creator>Gauri Sreedhar (AT)</dc:creator>
  <cp:lastModifiedBy>Joseph Jose (AT)</cp:lastModifiedBy>
  <cp:revision>183</cp:revision>
  <cp:lastPrinted>2019-11-11T21:45:16Z</cp:lastPrinted>
  <dcterms:created xsi:type="dcterms:W3CDTF">2019-06-23T09:08:05Z</dcterms:created>
  <dcterms:modified xsi:type="dcterms:W3CDTF">2019-12-05T22:1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D2376E5DF9F42BE89CD8AD47FA9BF00674C40E0462A444D935A0EAE8FE96EBF</vt:lpwstr>
  </property>
  <property fmtid="{D5CDD505-2E9C-101B-9397-08002B2CF9AE}" pid="3" name="je8ad4a297c04c47b7374f3299f37ba1">
    <vt:lpwstr/>
  </property>
  <property fmtid="{D5CDD505-2E9C-101B-9397-08002B2CF9AE}" pid="4" name="D1 Mandate">
    <vt:lpwstr/>
  </property>
  <property fmtid="{D5CDD505-2E9C-101B-9397-08002B2CF9AE}" pid="5" name="Auckland Area">
    <vt:lpwstr/>
  </property>
  <property fmtid="{D5CDD505-2E9C-101B-9397-08002B2CF9AE}" pid="6" name="Project Document Type">
    <vt:lpwstr/>
  </property>
  <property fmtid="{D5CDD505-2E9C-101B-9397-08002B2CF9AE}" pid="7" name="Business Unit">
    <vt:lpwstr/>
  </property>
  <property fmtid="{D5CDD505-2E9C-101B-9397-08002B2CF9AE}" pid="8" name="D1 Document Category">
    <vt:lpwstr>4533;#Travel Itinerary|5f4acb75-08a5-409e-a73e-14eb10dff621</vt:lpwstr>
  </property>
  <property fmtid="{D5CDD505-2E9C-101B-9397-08002B2CF9AE}" pid="9" name="c4d87822870a4925aa42fdd6104a7549">
    <vt:lpwstr/>
  </property>
  <property fmtid="{D5CDD505-2E9C-101B-9397-08002B2CF9AE}" pid="10" name="D1 Programme Project">
    <vt:lpwstr>919;#Intelligent Transport Systems|6ab5876e-de5f-4141-873e-53bd97aee1a1;#402;#Digital technology|ae8d5d08-6d6e-498c-b837-5555e04f7c3a</vt:lpwstr>
  </property>
  <property fmtid="{D5CDD505-2E9C-101B-9397-08002B2CF9AE}" pid="11" name="D1 Employee">
    <vt:lpwstr/>
  </property>
  <property fmtid="{D5CDD505-2E9C-101B-9397-08002B2CF9AE}" pid="12" name="Plan Type">
    <vt:lpwstr/>
  </property>
  <property fmtid="{D5CDD505-2E9C-101B-9397-08002B2CF9AE}" pid="13" name="Report Type">
    <vt:lpwstr/>
  </property>
  <property fmtid="{D5CDD505-2E9C-101B-9397-08002B2CF9AE}" pid="14" name="h20121564a2843e592076ea6ce01deb2">
    <vt:lpwstr/>
  </property>
  <property fmtid="{D5CDD505-2E9C-101B-9397-08002B2CF9AE}" pid="15" name="Report Cycle">
    <vt:lpwstr/>
  </property>
  <property fmtid="{D5CDD505-2E9C-101B-9397-08002B2CF9AE}" pid="16" name="Project Type">
    <vt:lpwstr/>
  </property>
  <property fmtid="{D5CDD505-2E9C-101B-9397-08002B2CF9AE}" pid="17" name="b3eed54ae8814a0dbbd164147568d08c">
    <vt:lpwstr/>
  </property>
  <property fmtid="{D5CDD505-2E9C-101B-9397-08002B2CF9AE}" pid="18" name="f870a44f25d94884828687da20523175">
    <vt:lpwstr/>
  </property>
  <property fmtid="{D5CDD505-2E9C-101B-9397-08002B2CF9AE}" pid="19" name="pec0af9830df4a2a9e6de9ef94c2215a">
    <vt:lpwstr/>
  </property>
  <property fmtid="{D5CDD505-2E9C-101B-9397-08002B2CF9AE}" pid="20" name="D1 Subject">
    <vt:lpwstr/>
  </property>
  <property fmtid="{D5CDD505-2E9C-101B-9397-08002B2CF9AE}" pid="21" name="Correspondence Type">
    <vt:lpwstr/>
  </property>
  <property fmtid="{D5CDD505-2E9C-101B-9397-08002B2CF9AE}" pid="22" name="if3fd911aa434130b3a57ed0fd899c27">
    <vt:lpwstr/>
  </property>
  <property fmtid="{D5CDD505-2E9C-101B-9397-08002B2CF9AE}" pid="23" name="a86340a0a46f4c7ca69519b2c5b4b40f">
    <vt:lpwstr/>
  </property>
  <property fmtid="{D5CDD505-2E9C-101B-9397-08002B2CF9AE}" pid="24" name="D1 Business Role">
    <vt:lpwstr>4536;#Manager|8fd21788-a6de-4cfb-879c-24e42f8a67a9;#195;#Analyst|eac05e4e-c3ef-4940-9986-2f5b29f22bc1;#4629;#CCTV Specialist|d5addff7-acfa-4700-94d8-426ae0b8356f;#423;#Business Analyst|6d16e700-cf54-473d-8ce1-69e521b9f4b0;#269;#Programme Manager|0656f908-</vt:lpwstr>
  </property>
  <property fmtid="{D5CDD505-2E9C-101B-9397-08002B2CF9AE}" pid="25" name="D1 Partners Stakeholders">
    <vt:lpwstr/>
  </property>
  <property fmtid="{D5CDD505-2E9C-101B-9397-08002B2CF9AE}" pid="26" name="RM Context">
    <vt:lpwstr/>
  </property>
</Properties>
</file>